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7" r:id="rId2"/>
    <p:sldMasterId id="2147483756" r:id="rId3"/>
    <p:sldMasterId id="2147483775" r:id="rId4"/>
  </p:sldMasterIdLst>
  <p:handoutMasterIdLst>
    <p:handoutMasterId r:id="rId28"/>
  </p:handoutMasterIdLst>
  <p:sldIdLst>
    <p:sldId id="256" r:id="rId5"/>
    <p:sldId id="257" r:id="rId6"/>
    <p:sldId id="270" r:id="rId7"/>
    <p:sldId id="272" r:id="rId8"/>
    <p:sldId id="281" r:id="rId9"/>
    <p:sldId id="278" r:id="rId10"/>
    <p:sldId id="282" r:id="rId11"/>
    <p:sldId id="280" r:id="rId12"/>
    <p:sldId id="271" r:id="rId13"/>
    <p:sldId id="276" r:id="rId14"/>
    <p:sldId id="274" r:id="rId15"/>
    <p:sldId id="277" r:id="rId16"/>
    <p:sldId id="283" r:id="rId17"/>
    <p:sldId id="275" r:id="rId18"/>
    <p:sldId id="273" r:id="rId19"/>
    <p:sldId id="259" r:id="rId20"/>
    <p:sldId id="260" r:id="rId21"/>
    <p:sldId id="269" r:id="rId22"/>
    <p:sldId id="262" r:id="rId23"/>
    <p:sldId id="263" r:id="rId24"/>
    <p:sldId id="265" r:id="rId25"/>
    <p:sldId id="266" r:id="rId26"/>
    <p:sldId id="267" r:id="rId27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B4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72" y="2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3" d="100"/>
          <a:sy n="73" d="100"/>
        </p:scale>
        <p:origin x="-274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E2EF14-8E2B-4EDB-AB8F-5172631B878F}" type="datetimeFigureOut">
              <a:rPr lang="fr-FR" smtClean="0"/>
              <a:pPr/>
              <a:t>22/11/201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95061D-2A4D-455A-9C6A-8FA5BB504A38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3279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 userDrawn="1"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itre 5"/>
            <p:cNvSpPr txBox="1">
              <a:spLocks/>
            </p:cNvSpPr>
            <p:nvPr userDrawn="1"/>
          </p:nvSpPr>
          <p:spPr>
            <a:xfrm>
              <a:off x="2742304" y="6613200"/>
              <a:ext cx="2045720" cy="1502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ts val="1000"/>
                </a:lnSpc>
              </a:pPr>
              <a:r>
                <a:rPr lang="fr-FR" sz="1600" b="1" spc="10" baseline="0" dirty="0" smtClean="0">
                  <a:solidFill>
                    <a:schemeClr val="bg2"/>
                  </a:solidFill>
                  <a:latin typeface="+mn-lt"/>
                  <a:cs typeface="Arial" pitchFamily="34" charset="0"/>
                </a:rPr>
                <a:t>www.groupe-sii.com</a:t>
              </a:r>
              <a:endParaRPr lang="fr-FR" sz="1600" b="1" spc="10" baseline="0" dirty="0">
                <a:solidFill>
                  <a:schemeClr val="bg2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5" name="Espace réservé de la date 3"/>
          <p:cNvSpPr txBox="1">
            <a:spLocks/>
          </p:cNvSpPr>
          <p:nvPr userDrawn="1"/>
        </p:nvSpPr>
        <p:spPr>
          <a:xfrm>
            <a:off x="7077600" y="6421906"/>
            <a:ext cx="1066800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1000" b="0" dirty="0" smtClean="0">
                <a:solidFill>
                  <a:schemeClr val="bg1"/>
                </a:solidFill>
              </a:rPr>
              <a:t>S4-0396-02</a:t>
            </a:r>
            <a:endParaRPr lang="fr-FR" sz="600" b="0" dirty="0">
              <a:solidFill>
                <a:schemeClr val="bg1"/>
              </a:solidFill>
            </a:endParaRPr>
          </a:p>
        </p:txBody>
      </p:sp>
      <p:grpSp>
        <p:nvGrpSpPr>
          <p:cNvPr id="32" name="Groupe 31"/>
          <p:cNvGrpSpPr/>
          <p:nvPr userDrawn="1"/>
        </p:nvGrpSpPr>
        <p:grpSpPr>
          <a:xfrm>
            <a:off x="872080" y="6525344"/>
            <a:ext cx="1643848" cy="252000"/>
            <a:chOff x="872080" y="6525344"/>
            <a:chExt cx="1643848" cy="252000"/>
          </a:xfrm>
        </p:grpSpPr>
        <p:pic>
          <p:nvPicPr>
            <p:cNvPr id="33" name="Image 3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080" y="6525344"/>
              <a:ext cx="274187" cy="252000"/>
            </a:xfrm>
            <a:prstGeom prst="rect">
              <a:avLst/>
            </a:prstGeom>
          </p:spPr>
        </p:pic>
        <p:pic>
          <p:nvPicPr>
            <p:cNvPr id="34" name="Image 33" descr="CMMI_blanc.png"/>
            <p:cNvPicPr/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7315" y="6561344"/>
              <a:ext cx="770255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Image 34" descr="ITIL_methode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17" y="6561344"/>
              <a:ext cx="397311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88733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tx2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5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744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3" name="Groupe 2"/>
          <p:cNvGrpSpPr/>
          <p:nvPr userDrawn="1"/>
        </p:nvGrpSpPr>
        <p:grpSpPr>
          <a:xfrm>
            <a:off x="872080" y="6525344"/>
            <a:ext cx="1643848" cy="252000"/>
            <a:chOff x="872080" y="6525344"/>
            <a:chExt cx="1643848" cy="252000"/>
          </a:xfrm>
        </p:grpSpPr>
        <p:pic>
          <p:nvPicPr>
            <p:cNvPr id="15" name="Image 14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080" y="6525344"/>
              <a:ext cx="274187" cy="252000"/>
            </a:xfrm>
            <a:prstGeom prst="rect">
              <a:avLst/>
            </a:prstGeom>
          </p:spPr>
        </p:pic>
        <p:pic>
          <p:nvPicPr>
            <p:cNvPr id="19" name="Image 18" descr="CMMI_blanc.png"/>
            <p:cNvPicPr/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7315" y="6561344"/>
              <a:ext cx="770255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Image 19" descr="ITIL_methode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17" y="6561344"/>
              <a:ext cx="397311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Espace réservé de la date 3"/>
          <p:cNvSpPr txBox="1">
            <a:spLocks/>
          </p:cNvSpPr>
          <p:nvPr userDrawn="1"/>
        </p:nvSpPr>
        <p:spPr>
          <a:xfrm>
            <a:off x="7077600" y="6421906"/>
            <a:ext cx="1066800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1000" b="0" dirty="0" smtClean="0">
                <a:solidFill>
                  <a:schemeClr val="bg1"/>
                </a:solidFill>
              </a:rPr>
              <a:t>S4-0396-02</a:t>
            </a:r>
            <a:endParaRPr lang="fr-FR" sz="6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07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</p:spTree>
    <p:extLst>
      <p:ext uri="{BB962C8B-B14F-4D97-AF65-F5344CB8AC3E}">
        <p14:creationId xmlns:p14="http://schemas.microsoft.com/office/powerpoint/2010/main" val="362485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27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680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1832400" cy="288658"/>
            <a:chOff x="0" y="62656"/>
            <a:chExt cx="1831605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0" y="280759"/>
              <a:ext cx="1828800" cy="377"/>
            </a:xfrm>
            <a:prstGeom prst="line">
              <a:avLst/>
            </a:prstGeom>
            <a:ln w="1524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1" y="62656"/>
              <a:ext cx="1831604" cy="288658"/>
              <a:chOff x="-2575" y="62656"/>
              <a:chExt cx="1831604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67552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36293" y="62656"/>
                <a:ext cx="1555140" cy="247878"/>
              </a:xfrm>
              <a:prstGeom prst="rect">
                <a:avLst/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25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rgbClr val="88B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325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1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89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829900" y="44624"/>
            <a:ext cx="1829850" cy="288658"/>
            <a:chOff x="9129" y="62656"/>
            <a:chExt cx="1829850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28800" cy="0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29850" cy="288658"/>
              <a:chOff x="6553" y="62656"/>
              <a:chExt cx="1829850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492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3385" y="62656"/>
                <a:ext cx="1555140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374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5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657600" y="44624"/>
            <a:ext cx="1828800" cy="288658"/>
            <a:chOff x="9129" y="62656"/>
            <a:chExt cx="18313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2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302" cy="288658"/>
              <a:chOff x="6553" y="62656"/>
              <a:chExt cx="18313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48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7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21" name="Connecteur droit 20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55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6122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5486400" y="44624"/>
            <a:ext cx="1828798" cy="288658"/>
            <a:chOff x="9129" y="62656"/>
            <a:chExt cx="1831300" cy="288658"/>
          </a:xfrm>
          <a:solidFill>
            <a:schemeClr val="accent5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497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1">
                <a:solidFill>
                  <a:schemeClr val="accent6"/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 b="1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13" name="Connecteur droit 12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5" name="Connecteur droit 4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157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7313323" y="44624"/>
            <a:ext cx="1828798" cy="288658"/>
            <a:chOff x="9129" y="62656"/>
            <a:chExt cx="1831300" cy="288658"/>
          </a:xfrm>
          <a:solidFill>
            <a:schemeClr val="accent6"/>
          </a:solidFill>
        </p:grpSpPr>
        <p:cxnSp>
          <p:nvCxnSpPr>
            <p:cNvPr id="4" name="Connecteur droit 3"/>
            <p:cNvCxnSpPr/>
            <p:nvPr userDrawn="1"/>
          </p:nvCxnSpPr>
          <p:spPr>
            <a:xfrm>
              <a:off x="9129" y="281136"/>
              <a:ext cx="1831300" cy="0"/>
            </a:xfrm>
            <a:prstGeom prst="line">
              <a:avLst/>
            </a:prstGeom>
            <a:grpFill/>
            <a:ln w="152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1831299" cy="288658"/>
              <a:chOff x="6553" y="62656"/>
              <a:chExt cx="1831299" cy="288658"/>
            </a:xfrm>
            <a:grpFill/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376375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44636" y="62656"/>
                <a:ext cx="1555140" cy="2478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980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7538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>
            <a:off x="872080" y="6525344"/>
            <a:ext cx="1643848" cy="252000"/>
            <a:chOff x="872080" y="6525344"/>
            <a:chExt cx="1643848" cy="252000"/>
          </a:xfrm>
        </p:grpSpPr>
        <p:pic>
          <p:nvPicPr>
            <p:cNvPr id="19" name="Image 1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080" y="6525344"/>
              <a:ext cx="274187" cy="252000"/>
            </a:xfrm>
            <a:prstGeom prst="rect">
              <a:avLst/>
            </a:prstGeom>
          </p:spPr>
        </p:pic>
        <p:pic>
          <p:nvPicPr>
            <p:cNvPr id="22" name="Image 21" descr="CMMI_blanc.png"/>
            <p:cNvPicPr/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7315" y="6561344"/>
              <a:ext cx="770255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Image 22" descr="ITIL_methode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17" y="6561344"/>
              <a:ext cx="397311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Espace réservé de la date 3"/>
          <p:cNvSpPr txBox="1">
            <a:spLocks/>
          </p:cNvSpPr>
          <p:nvPr userDrawn="1"/>
        </p:nvSpPr>
        <p:spPr>
          <a:xfrm>
            <a:off x="7077600" y="6421906"/>
            <a:ext cx="1066800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1000" b="0" dirty="0" smtClean="0">
                <a:solidFill>
                  <a:schemeClr val="bg1"/>
                </a:solidFill>
              </a:rPr>
              <a:t>S4-0396-02</a:t>
            </a:r>
            <a:endParaRPr lang="fr-FR" sz="6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055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277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19" name="Groupe 18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20" name="Connecteur droit 19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à coins arrondis 20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Rectangle à coins arrondis 22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6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63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322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1172" y="44624"/>
            <a:ext cx="2286442" cy="288658"/>
            <a:chOff x="2699792" y="1499718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699792" y="1718198"/>
              <a:ext cx="2286442" cy="1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524025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884938" y="1499718"/>
              <a:ext cx="1916150" cy="2478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699792" y="1499718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167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6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051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2285558" y="44624"/>
            <a:ext cx="2286442" cy="288658"/>
            <a:chOff x="2285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2285558" y="263104"/>
              <a:ext cx="2286442" cy="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4109791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2470704" y="44624"/>
              <a:ext cx="1916150" cy="24787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2285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329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3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499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4572000" y="44624"/>
            <a:ext cx="2286442" cy="288658"/>
            <a:chOff x="4572000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4572000" y="263104"/>
              <a:ext cx="2286442" cy="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6396965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4757146" y="44624"/>
              <a:ext cx="1916150" cy="2478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4572000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36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5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à coins arrondis 1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Rectangle à coins arrondis 1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20" name="ZoneTexte 19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8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 à coins arrondis 5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3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590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857558" y="44624"/>
            <a:ext cx="2286442" cy="288658"/>
            <a:chOff x="6857558" y="44624"/>
            <a:chExt cx="2286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6857558" y="263104"/>
              <a:ext cx="2286442" cy="1"/>
            </a:xfrm>
            <a:prstGeom prst="line">
              <a:avLst/>
            </a:prstGeom>
            <a:ln w="152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à coins arrondis 4"/>
            <p:cNvSpPr/>
            <p:nvPr userDrawn="1"/>
          </p:nvSpPr>
          <p:spPr>
            <a:xfrm>
              <a:off x="8682523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7042704" y="44624"/>
              <a:ext cx="1916150" cy="24787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8" name="Rectangle à coins arrondis 7"/>
            <p:cNvSpPr/>
            <p:nvPr userDrawn="1"/>
          </p:nvSpPr>
          <p:spPr>
            <a:xfrm>
              <a:off x="6857558" y="44624"/>
              <a:ext cx="461477" cy="28865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accent2"/>
                </a:solidFill>
              </a:endParaRPr>
            </a:p>
          </p:txBody>
        </p:sp>
      </p:grp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78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144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>
            <a:spLocks noGrp="1"/>
          </p:cNvSpPr>
          <p:nvPr>
            <p:ph type="ctrTitle" hasCustomPrompt="1"/>
          </p:nvPr>
        </p:nvSpPr>
        <p:spPr>
          <a:xfrm>
            <a:off x="2606306" y="2492896"/>
            <a:ext cx="626727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4400" b="1" baseline="0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E LA PRÉSENTATION </a:t>
            </a:r>
            <a:endParaRPr lang="fr-FR" dirty="0"/>
          </a:p>
        </p:txBody>
      </p:sp>
      <p:sp>
        <p:nvSpPr>
          <p:cNvPr id="2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603277" y="4509120"/>
            <a:ext cx="627332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 b="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ous-titre de la présentation</a:t>
            </a:r>
            <a:endParaRPr lang="fr-FR" dirty="0"/>
          </a:p>
        </p:txBody>
      </p:sp>
      <p:grpSp>
        <p:nvGrpSpPr>
          <p:cNvPr id="2" name="Groupe 1"/>
          <p:cNvGrpSpPr/>
          <p:nvPr/>
        </p:nvGrpSpPr>
        <p:grpSpPr>
          <a:xfrm>
            <a:off x="0" y="5948363"/>
            <a:ext cx="9144000" cy="909637"/>
            <a:chOff x="0" y="5948363"/>
            <a:chExt cx="9144000" cy="909637"/>
          </a:xfrm>
        </p:grpSpPr>
        <p:sp>
          <p:nvSpPr>
            <p:cNvPr id="29" name="Rectangle 28"/>
            <p:cNvSpPr/>
            <p:nvPr userDrawn="1"/>
          </p:nvSpPr>
          <p:spPr>
            <a:xfrm>
              <a:off x="0" y="5948363"/>
              <a:ext cx="9144000" cy="648989"/>
            </a:xfrm>
            <a:prstGeom prst="rect">
              <a:avLst/>
            </a:prstGeom>
            <a:solidFill>
              <a:srgbClr val="005A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fr-FR" dirty="0"/>
            </a:p>
          </p:txBody>
        </p:sp>
        <p:cxnSp>
          <p:nvCxnSpPr>
            <p:cNvPr id="18" name="Connecteur droit 17"/>
            <p:cNvCxnSpPr/>
            <p:nvPr userDrawn="1"/>
          </p:nvCxnSpPr>
          <p:spPr>
            <a:xfrm>
              <a:off x="8418026" y="5948363"/>
              <a:ext cx="0" cy="66591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 userDrawn="1"/>
          </p:nvCxnSpPr>
          <p:spPr>
            <a:xfrm>
              <a:off x="2636240" y="5948363"/>
              <a:ext cx="0" cy="9096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re 5"/>
          <p:cNvSpPr txBox="1">
            <a:spLocks/>
          </p:cNvSpPr>
          <p:nvPr userDrawn="1"/>
        </p:nvSpPr>
        <p:spPr>
          <a:xfrm>
            <a:off x="2742304" y="6613200"/>
            <a:ext cx="2045720" cy="1502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00"/>
              </a:lnSpc>
            </a:pPr>
            <a:r>
              <a:rPr lang="fr-FR" sz="1600" b="1" spc="10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www.groupe-sii.com</a:t>
            </a:r>
            <a:endParaRPr lang="fr-FR" sz="1600" b="1" spc="10" baseline="0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15" name="Groupe 14"/>
          <p:cNvGrpSpPr/>
          <p:nvPr userDrawn="1"/>
        </p:nvGrpSpPr>
        <p:grpSpPr>
          <a:xfrm>
            <a:off x="872080" y="6525344"/>
            <a:ext cx="1643848" cy="252000"/>
            <a:chOff x="872080" y="6525344"/>
            <a:chExt cx="1643848" cy="252000"/>
          </a:xfrm>
        </p:grpSpPr>
        <p:pic>
          <p:nvPicPr>
            <p:cNvPr id="19" name="Image 1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080" y="6525344"/>
              <a:ext cx="274187" cy="252000"/>
            </a:xfrm>
            <a:prstGeom prst="rect">
              <a:avLst/>
            </a:prstGeom>
          </p:spPr>
        </p:pic>
        <p:pic>
          <p:nvPicPr>
            <p:cNvPr id="22" name="Image 21" descr="CMMI_blanc.png"/>
            <p:cNvPicPr/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7315" y="6561344"/>
              <a:ext cx="770255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Image 22" descr="ITIL_methode.png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8617" y="6561344"/>
              <a:ext cx="397311" cy="1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Espace réservé de la date 3"/>
          <p:cNvSpPr txBox="1">
            <a:spLocks/>
          </p:cNvSpPr>
          <p:nvPr userDrawn="1"/>
        </p:nvSpPr>
        <p:spPr>
          <a:xfrm>
            <a:off x="7077600" y="6421906"/>
            <a:ext cx="1066800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fr-FR" sz="1200" b="0" dirty="0" smtClean="0">
              <a:solidFill>
                <a:schemeClr val="bg1"/>
              </a:solidFill>
            </a:endParaRPr>
          </a:p>
          <a:p>
            <a:pPr algn="r"/>
            <a:r>
              <a:rPr lang="fr-FR" sz="1000" b="0" dirty="0" smtClean="0">
                <a:solidFill>
                  <a:schemeClr val="bg1"/>
                </a:solidFill>
              </a:rPr>
              <a:t>S4-0396-02</a:t>
            </a:r>
            <a:endParaRPr lang="fr-FR" sz="6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027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rincip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52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 baseline="0">
                <a:solidFill>
                  <a:srgbClr val="88B4DC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903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0" y="44624"/>
            <a:ext cx="3048442" cy="288658"/>
            <a:chOff x="-2823" y="62656"/>
            <a:chExt cx="304844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-2823" y="276225"/>
              <a:ext cx="3048442" cy="4915"/>
            </a:xfrm>
            <a:prstGeom prst="line">
              <a:avLst/>
            </a:prstGeom>
            <a:ln w="152400">
              <a:solidFill>
                <a:srgbClr val="8AB5D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-2823" y="62656"/>
              <a:ext cx="3048442" cy="288658"/>
              <a:chOff x="-5399" y="62656"/>
              <a:chExt cx="304844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2581566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79747" y="62656"/>
                <a:ext cx="2678150" cy="24787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-5399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11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3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20" name="Groupe 19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21" name="Connecteur droit 20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e 21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23" name="Rectangle à coins arrondis 22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5" name="Rectangle à coins arrondis 24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7" name="ZoneTexte 16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4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1533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3047524" y="43998"/>
            <a:ext cx="3048549" cy="288658"/>
            <a:chOff x="9129" y="62656"/>
            <a:chExt cx="2213757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84" y="276225"/>
              <a:ext cx="2213702" cy="4911"/>
            </a:xfrm>
            <a:prstGeom prst="line">
              <a:avLst/>
            </a:prstGeom>
            <a:ln w="152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57" cy="288658"/>
              <a:chOff x="6553" y="62656"/>
              <a:chExt cx="2213757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83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3567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6" name="ZoneTexte 15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4"/>
                </a:solidFill>
              </a:defRPr>
            </a:lvl1pPr>
            <a:lvl2pPr marL="663575" indent="-206375">
              <a:buFontTx/>
              <a:buBlip>
                <a:blip r:embed="rId4"/>
              </a:buBlip>
              <a:defRPr sz="1600" b="1"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13" name="Connecteur droit 12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e 1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17" name="Rectangle à coins arrondis 1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8" name="Rectangle 1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9" name="Rectangle à coins arrondis 1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1" name="ZoneTexte 20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7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grpSp>
        <p:nvGrpSpPr>
          <p:cNvPr id="4" name="Groupe 3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5" name="Connecteur droit 4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e 5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7" name="Rectangle à coins arrondis 6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914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 userDrawn="1"/>
        </p:nvGrpSpPr>
        <p:grpSpPr>
          <a:xfrm>
            <a:off x="6098400" y="44624"/>
            <a:ext cx="3048473" cy="288658"/>
            <a:chOff x="9129" y="62656"/>
            <a:chExt cx="2213702" cy="288658"/>
          </a:xfrm>
        </p:grpSpPr>
        <p:cxnSp>
          <p:nvCxnSpPr>
            <p:cNvPr id="4" name="Connecteur droit 3"/>
            <p:cNvCxnSpPr/>
            <p:nvPr userDrawn="1"/>
          </p:nvCxnSpPr>
          <p:spPr>
            <a:xfrm flipV="1">
              <a:off x="9129" y="276225"/>
              <a:ext cx="2213702" cy="4911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e 4"/>
            <p:cNvGrpSpPr/>
            <p:nvPr userDrawn="1"/>
          </p:nvGrpSpPr>
          <p:grpSpPr>
            <a:xfrm>
              <a:off x="9129" y="62656"/>
              <a:ext cx="2213702" cy="288658"/>
              <a:chOff x="6553" y="62656"/>
              <a:chExt cx="2213702" cy="288658"/>
            </a:xfrm>
          </p:grpSpPr>
          <p:sp>
            <p:nvSpPr>
              <p:cNvPr id="6" name="Rectangle à coins arrondis 5"/>
              <p:cNvSpPr/>
              <p:nvPr userDrawn="1"/>
            </p:nvSpPr>
            <p:spPr>
              <a:xfrm>
                <a:off x="1758778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187632" y="62656"/>
                <a:ext cx="1851549" cy="24787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Rectangle à coins arrondis 8"/>
              <p:cNvSpPr/>
              <p:nvPr userDrawn="1"/>
            </p:nvSpPr>
            <p:spPr>
              <a:xfrm>
                <a:off x="6553" y="62656"/>
                <a:ext cx="461477" cy="288658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10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001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317822" y="1628800"/>
            <a:ext cx="8502650" cy="467995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14000"/>
              </a:lnSpc>
              <a:buFont typeface="Wingdings" pitchFamily="2" charset="2"/>
              <a:buChar char="§"/>
              <a:defRPr sz="2400" b="1">
                <a:solidFill>
                  <a:schemeClr val="tx2"/>
                </a:solidFill>
              </a:defRPr>
            </a:lvl1pPr>
            <a:lvl2pPr marL="742950" indent="-285750">
              <a:lnSpc>
                <a:spcPct val="114000"/>
              </a:lnSpc>
              <a:buClr>
                <a:schemeClr val="accent1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2pPr>
            <a:lvl3pPr marL="1143000" indent="-228600">
              <a:lnSpc>
                <a:spcPct val="114000"/>
              </a:lnSpc>
              <a:buFont typeface="Wingdings 3" pitchFamily="18" charset="2"/>
              <a:buChar char="î"/>
              <a:defRPr sz="2000">
                <a:solidFill>
                  <a:schemeClr val="accent1"/>
                </a:solidFill>
              </a:defRPr>
            </a:lvl3pPr>
            <a:lvl4pPr marL="1600200" indent="-228600">
              <a:lnSpc>
                <a:spcPct val="114000"/>
              </a:lnSpc>
              <a:buFont typeface="Arial" pitchFamily="34" charset="0"/>
              <a:buChar char="–"/>
              <a:defRPr sz="1800" b="1"/>
            </a:lvl4pPr>
            <a:lvl5pPr marL="1971675" indent="-142875">
              <a:lnSpc>
                <a:spcPct val="114000"/>
              </a:lnSpc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38793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part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467544" y="504000"/>
            <a:ext cx="6408758" cy="40011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FontTx/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Modifiez le titre du </a:t>
            </a:r>
            <a:r>
              <a:rPr lang="fr-FR" dirty="0" err="1" smtClean="0"/>
              <a:t>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9330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part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" y="1644047"/>
            <a:ext cx="1743889" cy="3945193"/>
          </a:xfrm>
          <a:prstGeom prst="rect">
            <a:avLst/>
          </a:prstGeom>
        </p:spPr>
      </p:pic>
      <p:sp>
        <p:nvSpPr>
          <p:cNvPr id="10" name="Espace réservé du texte vertical 2"/>
          <p:cNvSpPr>
            <a:spLocks noGrp="1"/>
          </p:cNvSpPr>
          <p:nvPr>
            <p:ph type="body" orient="vert" idx="14" hasCustomPrompt="1"/>
          </p:nvPr>
        </p:nvSpPr>
        <p:spPr>
          <a:xfrm>
            <a:off x="393502" y="4877391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5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1" name="Espace réservé du texte vertical 2"/>
          <p:cNvSpPr>
            <a:spLocks noGrp="1"/>
          </p:cNvSpPr>
          <p:nvPr>
            <p:ph type="body" orient="vert" idx="12" hasCustomPrompt="1"/>
          </p:nvPr>
        </p:nvSpPr>
        <p:spPr>
          <a:xfrm>
            <a:off x="827584" y="4221088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4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2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1458874" y="2276872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 baseline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1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4" name="Espace réservé du texte vertical 2"/>
          <p:cNvSpPr>
            <a:spLocks noGrp="1"/>
          </p:cNvSpPr>
          <p:nvPr>
            <p:ph type="body" orient="vert" idx="10" hasCustomPrompt="1"/>
          </p:nvPr>
        </p:nvSpPr>
        <p:spPr>
          <a:xfrm>
            <a:off x="1386866" y="2924944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3"/>
              </a:buBlip>
              <a:defRPr sz="24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  <a:lvl2pPr marL="663575" indent="-206375">
              <a:buFontTx/>
              <a:buBlip>
                <a:blip r:embed="rId3"/>
              </a:buBlip>
              <a:defRPr sz="1600">
                <a:solidFill>
                  <a:schemeClr val="accent5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2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5" name="Espace réservé du texte vertical 2"/>
          <p:cNvSpPr>
            <a:spLocks noGrp="1"/>
          </p:cNvSpPr>
          <p:nvPr>
            <p:ph type="body" orient="vert" idx="11" hasCustomPrompt="1"/>
          </p:nvPr>
        </p:nvSpPr>
        <p:spPr>
          <a:xfrm>
            <a:off x="1187624" y="3573016"/>
            <a:ext cx="7505614" cy="417300"/>
          </a:xfrm>
          <a:prstGeom prst="rect">
            <a:avLst/>
          </a:prstGeom>
        </p:spPr>
        <p:txBody>
          <a:bodyPr vert="horz" lIns="0" tIns="0" rIns="0" bIns="0"/>
          <a:lstStyle>
            <a:lvl1pPr marL="339725" indent="-339725">
              <a:buSzPct val="120000"/>
              <a:buFontTx/>
              <a:buBlip>
                <a:blip r:embed="rId4"/>
              </a:buBlip>
              <a:defRPr sz="2400" b="1">
                <a:solidFill>
                  <a:schemeClr val="accent1"/>
                </a:solidFill>
              </a:defRPr>
            </a:lvl1pPr>
            <a:lvl2pPr marL="663575" indent="-206375">
              <a:buFontTx/>
              <a:buBlip>
                <a:blip r:embed="rId5"/>
              </a:buBlip>
              <a:defRPr sz="1600" b="1"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fr-FR" dirty="0" smtClean="0"/>
              <a:t>Insérer ici le titre 3 du sommaire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13" name="ZoneTexte 12"/>
          <p:cNvSpPr txBox="1"/>
          <p:nvPr userDrawn="1"/>
        </p:nvSpPr>
        <p:spPr>
          <a:xfrm>
            <a:off x="468000" y="504000"/>
            <a:ext cx="5760640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fr-FR" sz="2600" b="1" dirty="0" smtClean="0">
                <a:solidFill>
                  <a:schemeClr val="accent1"/>
                </a:solidFill>
              </a:rPr>
              <a:t>Sommaire</a:t>
            </a:r>
            <a:endParaRPr lang="fr-FR" sz="2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868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736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604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690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24" r:id="rId3"/>
    <p:sldLayoutId id="2147483712" r:id="rId4"/>
    <p:sldLayoutId id="2147483713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23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5374" cy="0"/>
            <a:chOff x="0" y="310534"/>
            <a:chExt cx="9145374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1828220" y="310534"/>
              <a:ext cx="1829902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/>
            <p:cNvCxnSpPr/>
            <p:nvPr/>
          </p:nvCxnSpPr>
          <p:spPr>
            <a:xfrm flipV="1">
              <a:off x="7315472" y="310534"/>
              <a:ext cx="1829902" cy="0"/>
            </a:xfrm>
            <a:prstGeom prst="line">
              <a:avLst/>
            </a:prstGeom>
            <a:ln w="88900">
              <a:solidFill>
                <a:srgbClr val="D64B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3657600" y="310534"/>
              <a:ext cx="1829902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5486400" y="310534"/>
              <a:ext cx="1829902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1829902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8099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2286000" y="310534"/>
              <a:ext cx="2286000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4572000" y="310534"/>
              <a:ext cx="2286000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/>
          </p:nvCxnSpPr>
          <p:spPr>
            <a:xfrm flipV="1">
              <a:off x="6858000" y="310534"/>
              <a:ext cx="2286000" cy="0"/>
            </a:xfrm>
            <a:prstGeom prst="line">
              <a:avLst/>
            </a:prstGeom>
            <a:ln w="88900">
              <a:solidFill>
                <a:srgbClr val="8088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2286000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7410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4" r:id="rId15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6503472"/>
            <a:ext cx="9144000" cy="369332"/>
          </a:xfrm>
          <a:prstGeom prst="rect">
            <a:avLst/>
          </a:prstGeom>
          <a:solidFill>
            <a:srgbClr val="005A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r"/>
            <a:endParaRPr lang="fr-FR" dirty="0"/>
          </a:p>
        </p:txBody>
      </p:sp>
      <p:cxnSp>
        <p:nvCxnSpPr>
          <p:cNvPr id="31" name="Connecteur droit 30"/>
          <p:cNvCxnSpPr/>
          <p:nvPr/>
        </p:nvCxnSpPr>
        <p:spPr>
          <a:xfrm>
            <a:off x="8417920" y="6503472"/>
            <a:ext cx="0" cy="35427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47416" y="6612741"/>
            <a:ext cx="6480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  </a:t>
            </a:r>
            <a:r>
              <a:rPr lang="en-US" sz="1000" dirty="0" smtClean="0">
                <a:solidFill>
                  <a:schemeClr val="bg1"/>
                </a:solidFill>
              </a:rPr>
              <a:t>Page </a:t>
            </a:r>
            <a:fld id="{68D73963-380B-4232-BFDD-1B76183B206E}" type="slidenum">
              <a:rPr lang="en-US" sz="900" smtClean="0">
                <a:solidFill>
                  <a:schemeClr val="bg1"/>
                </a:solidFill>
              </a:rPr>
              <a:pPr algn="ctr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5140"/>
            <a:ext cx="9144000" cy="1089522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2320" y="501599"/>
            <a:ext cx="1229279" cy="796605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0" y="310534"/>
            <a:ext cx="9144000" cy="0"/>
            <a:chOff x="0" y="310534"/>
            <a:chExt cx="9144000" cy="0"/>
          </a:xfrm>
        </p:grpSpPr>
        <p:cxnSp>
          <p:nvCxnSpPr>
            <p:cNvPr id="12" name="Connecteur droit 11"/>
            <p:cNvCxnSpPr/>
            <p:nvPr/>
          </p:nvCxnSpPr>
          <p:spPr>
            <a:xfrm flipV="1">
              <a:off x="3049200" y="310534"/>
              <a:ext cx="3047224" cy="0"/>
            </a:xfrm>
            <a:prstGeom prst="line">
              <a:avLst/>
            </a:prstGeom>
            <a:ln w="88900">
              <a:solidFill>
                <a:srgbClr val="8D358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/>
          </p:nvCxnSpPr>
          <p:spPr>
            <a:xfrm flipV="1">
              <a:off x="6096776" y="310534"/>
              <a:ext cx="3047224" cy="0"/>
            </a:xfrm>
            <a:prstGeom prst="line">
              <a:avLst/>
            </a:prstGeom>
            <a:ln w="88900">
              <a:solidFill>
                <a:srgbClr val="B2BE3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/>
            <p:cNvCxnSpPr/>
            <p:nvPr/>
          </p:nvCxnSpPr>
          <p:spPr>
            <a:xfrm flipV="1">
              <a:off x="0" y="310534"/>
              <a:ext cx="3047224" cy="0"/>
            </a:xfrm>
            <a:prstGeom prst="line">
              <a:avLst/>
            </a:prstGeom>
            <a:ln w="88900">
              <a:solidFill>
                <a:srgbClr val="88B4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20290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93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7" Type="http://schemas.openxmlformats.org/officeDocument/2006/relationships/image" Target="../media/image21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606306" y="2492896"/>
            <a:ext cx="6267270" cy="1354217"/>
          </a:xfrm>
        </p:spPr>
        <p:txBody>
          <a:bodyPr/>
          <a:lstStyle/>
          <a:p>
            <a:r>
              <a:rPr lang="fr-FR" dirty="0" smtClean="0"/>
              <a:t>Présentation de la solution TALEND</a:t>
            </a:r>
            <a:endParaRPr lang="fr-FR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éf. XXXXX</a:t>
            </a:r>
            <a:endParaRPr lang="fr-FR" dirty="0"/>
          </a:p>
        </p:txBody>
      </p:sp>
      <p:sp>
        <p:nvSpPr>
          <p:cNvPr id="4" name="Titre 5"/>
          <p:cNvSpPr txBox="1">
            <a:spLocks/>
          </p:cNvSpPr>
          <p:nvPr/>
        </p:nvSpPr>
        <p:spPr>
          <a:xfrm>
            <a:off x="2742304" y="6021288"/>
            <a:ext cx="2967725" cy="50783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Groupe 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SII </a:t>
            </a:r>
            <a:endParaRPr lang="fr-FR" sz="1100" b="1" dirty="0" smtClean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65</a:t>
            </a:r>
            <a:r>
              <a:rPr lang="fr-FR" sz="1100" b="1" dirty="0">
                <a:solidFill>
                  <a:schemeClr val="bg1"/>
                </a:solidFill>
                <a:latin typeface="+mn-lt"/>
              </a:rPr>
              <a:t>, rue de Bercy - 75012 Paris</a:t>
            </a:r>
          </a:p>
          <a:p>
            <a:pPr>
              <a:lnSpc>
                <a:spcPct val="100000"/>
              </a:lnSpc>
            </a:pPr>
            <a:r>
              <a:rPr lang="fr-FR" sz="1100" b="1" dirty="0">
                <a:solidFill>
                  <a:schemeClr val="bg1"/>
                </a:solidFill>
                <a:latin typeface="+mn-lt"/>
              </a:rPr>
              <a:t>Tél : 01 42 84 82 22 - Fax : 01 42 84 30 </a:t>
            </a:r>
            <a:r>
              <a:rPr lang="fr-FR" sz="1100" b="1" dirty="0" smtClean="0">
                <a:solidFill>
                  <a:schemeClr val="bg1"/>
                </a:solidFill>
                <a:latin typeface="+mn-lt"/>
              </a:rPr>
              <a:t>82</a:t>
            </a:r>
            <a:endParaRPr lang="fr-FR" sz="11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Espace réservé de la date 3"/>
          <p:cNvSpPr txBox="1">
            <a:spLocks/>
          </p:cNvSpPr>
          <p:nvPr/>
        </p:nvSpPr>
        <p:spPr>
          <a:xfrm>
            <a:off x="7077600" y="6421906"/>
            <a:ext cx="1066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2E9CA10-05CB-42BF-A81C-0D270473C232}" type="datetimeFigureOut">
              <a:rPr lang="fr-FR" sz="1200" b="0" smtClean="0">
                <a:solidFill>
                  <a:schemeClr val="bg1"/>
                </a:solidFill>
              </a:rPr>
              <a:pPr algn="r"/>
              <a:t>22/11/2013</a:t>
            </a:fld>
            <a:endParaRPr lang="fr-FR" sz="6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13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44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vertical 1"/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La concurrence et positionnement de TALEND</a:t>
            </a:r>
            <a:endParaRPr lang="fr-FR" dirty="0"/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8191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Que sait-on faire actuellement ?</a:t>
            </a:r>
          </a:p>
          <a:p>
            <a:pPr lvl="1"/>
            <a:r>
              <a:rPr lang="fr-FR" dirty="0"/>
              <a:t>Data </a:t>
            </a:r>
            <a:r>
              <a:rPr lang="fr-FR" dirty="0" smtClean="0"/>
              <a:t>Integration </a:t>
            </a:r>
            <a:endParaRPr lang="fr-FR" dirty="0"/>
          </a:p>
          <a:p>
            <a:pPr lvl="1"/>
            <a:r>
              <a:rPr lang="fr-FR" dirty="0"/>
              <a:t>Data </a:t>
            </a:r>
            <a:r>
              <a:rPr lang="fr-FR" dirty="0" smtClean="0"/>
              <a:t>Quality</a:t>
            </a:r>
          </a:p>
          <a:p>
            <a:pPr lvl="1"/>
            <a:endParaRPr lang="fr-FR" dirty="0" smtClean="0"/>
          </a:p>
          <a:p>
            <a:r>
              <a:rPr lang="fr-FR" dirty="0" smtClean="0"/>
              <a:t>OBS : Projet </a:t>
            </a:r>
            <a:r>
              <a:rPr lang="fr-FR" dirty="0"/>
              <a:t>Daqtari ( P.Germain, S.Trovalet, D.Cortinovis)</a:t>
            </a:r>
          </a:p>
          <a:p>
            <a:pPr lvl="1"/>
            <a:r>
              <a:rPr lang="fr-FR" dirty="0" smtClean="0"/>
              <a:t>Etude de la concurrence et préconisation Talend</a:t>
            </a:r>
          </a:p>
          <a:p>
            <a:pPr lvl="1"/>
            <a:r>
              <a:rPr lang="fr-FR" dirty="0" smtClean="0"/>
              <a:t>Formation DI DQ</a:t>
            </a:r>
          </a:p>
          <a:p>
            <a:pPr lvl="1"/>
            <a:r>
              <a:rPr lang="fr-FR" dirty="0" smtClean="0"/>
              <a:t>Mise en place plateforme </a:t>
            </a:r>
          </a:p>
          <a:p>
            <a:pPr lvl="1"/>
            <a:r>
              <a:rPr lang="fr-FR" dirty="0" smtClean="0"/>
              <a:t>Développement des process d’intégration de données avec Talend</a:t>
            </a:r>
            <a:endParaRPr lang="fr-FR" dirty="0"/>
          </a:p>
          <a:p>
            <a:pPr marL="0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2038546"/>
            <a:ext cx="534987" cy="55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2619055"/>
            <a:ext cx="530225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841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Orange </a:t>
            </a:r>
            <a:r>
              <a:rPr lang="fr-FR" dirty="0"/>
              <a:t>constate </a:t>
            </a:r>
            <a:r>
              <a:rPr lang="fr-FR" dirty="0" smtClean="0"/>
              <a:t>des </a:t>
            </a:r>
            <a:r>
              <a:rPr lang="fr-FR" dirty="0"/>
              <a:t>problèmes de </a:t>
            </a:r>
            <a:r>
              <a:rPr lang="fr-FR" i="1" dirty="0"/>
              <a:t>qualité de données </a:t>
            </a:r>
            <a:r>
              <a:rPr lang="fr-FR" i="1" dirty="0" smtClean="0"/>
              <a:t>	</a:t>
            </a:r>
          </a:p>
          <a:p>
            <a:pPr lvl="1"/>
            <a:r>
              <a:rPr lang="fr-FR" dirty="0" smtClean="0"/>
              <a:t>contentieux </a:t>
            </a:r>
            <a:r>
              <a:rPr lang="fr-FR" dirty="0"/>
              <a:t>clients</a:t>
            </a:r>
          </a:p>
          <a:p>
            <a:pPr lvl="1"/>
            <a:r>
              <a:rPr lang="fr-FR" dirty="0" smtClean="0"/>
              <a:t>service </a:t>
            </a:r>
            <a:r>
              <a:rPr lang="fr-FR" dirty="0"/>
              <a:t>client</a:t>
            </a:r>
          </a:p>
          <a:p>
            <a:pPr lvl="1"/>
            <a:r>
              <a:rPr lang="fr-FR" dirty="0" smtClean="0"/>
              <a:t>estimations </a:t>
            </a:r>
            <a:r>
              <a:rPr lang="fr-FR" dirty="0"/>
              <a:t>: plusieurs M</a:t>
            </a:r>
            <a:r>
              <a:rPr lang="fr-FR" dirty="0" smtClean="0"/>
              <a:t>€</a:t>
            </a:r>
          </a:p>
          <a:p>
            <a:r>
              <a:rPr lang="fr-FR" dirty="0" smtClean="0"/>
              <a:t>La </a:t>
            </a:r>
            <a:r>
              <a:rPr lang="fr-FR" dirty="0"/>
              <a:t>complexité d’un SI implique la mise en place d’une gouvernance des données</a:t>
            </a:r>
          </a:p>
          <a:p>
            <a:r>
              <a:rPr lang="fr-FR" dirty="0"/>
              <a:t> </a:t>
            </a:r>
            <a:r>
              <a:rPr lang="fr-FR" dirty="0" smtClean="0"/>
              <a:t>Investissement </a:t>
            </a:r>
            <a:r>
              <a:rPr lang="fr-FR" dirty="0"/>
              <a:t>dans un programme transverse (IMADAQ</a:t>
            </a:r>
            <a:r>
              <a:rPr lang="fr-FR" dirty="0" smtClean="0"/>
              <a:t>)</a:t>
            </a:r>
          </a:p>
          <a:p>
            <a:pPr lvl="1"/>
            <a:r>
              <a:rPr lang="fr-FR" dirty="0" smtClean="0"/>
              <a:t>(cf Projet Daqtari)</a:t>
            </a:r>
            <a:endParaRPr lang="fr-FR" dirty="0"/>
          </a:p>
          <a:p>
            <a:pPr marL="0" indent="0">
              <a:buNone/>
            </a:pPr>
            <a:r>
              <a:rPr lang="fr-FR" dirty="0" smtClean="0"/>
              <a:t>	</a:t>
            </a: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9" y="1988841"/>
            <a:ext cx="2448272" cy="1669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937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La concurrence et positionnement de TALEND</a:t>
            </a:r>
            <a:endParaRPr lang="fr-FR" dirty="0"/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319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4558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603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ZoneTexte 2"/>
          <p:cNvSpPr txBox="1"/>
          <p:nvPr/>
        </p:nvSpPr>
        <p:spPr>
          <a:xfrm>
            <a:off x="467544" y="1518829"/>
            <a:ext cx="2736304" cy="841913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355976" y="1927923"/>
            <a:ext cx="2736304" cy="841913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899592" y="3183620"/>
            <a:ext cx="2736304" cy="841913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4788024" y="3587685"/>
            <a:ext cx="2736304" cy="841913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475656" y="4736235"/>
            <a:ext cx="2736304" cy="841913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220072" y="5157191"/>
            <a:ext cx="2736304" cy="841913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72000" tIns="72000" rIns="72000" bIns="72000" rtlCol="0" anchor="ctr" anchorCtr="0">
            <a:spAutoFit/>
          </a:bodyPr>
          <a:lstStyle/>
          <a:p>
            <a:pPr marL="273050" indent="-273050">
              <a:buFont typeface="Wingdings" pitchFamily="2" charset="2"/>
              <a:buChar char="§"/>
            </a:pPr>
            <a:r>
              <a:rPr lang="fr-FR" sz="2000" b="1" dirty="0" smtClean="0">
                <a:solidFill>
                  <a:schemeClr val="bg1"/>
                </a:solidFill>
              </a:rPr>
              <a:t>Modifiez le texte dans le bloc</a:t>
            </a:r>
            <a:endParaRPr lang="fr-FR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22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Rectangle à coins arrondis 2"/>
          <p:cNvSpPr/>
          <p:nvPr/>
        </p:nvSpPr>
        <p:spPr>
          <a:xfrm>
            <a:off x="971600" y="2316481"/>
            <a:ext cx="2016224" cy="1944216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à coins arrondis 3"/>
          <p:cNvSpPr/>
          <p:nvPr/>
        </p:nvSpPr>
        <p:spPr>
          <a:xfrm>
            <a:off x="827584" y="2172465"/>
            <a:ext cx="2016224" cy="1944216"/>
          </a:xfrm>
          <a:prstGeom prst="roundRect">
            <a:avLst/>
          </a:prstGeom>
          <a:noFill/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à coins arrondis 5"/>
          <p:cNvSpPr/>
          <p:nvPr/>
        </p:nvSpPr>
        <p:spPr>
          <a:xfrm>
            <a:off x="3923928" y="2756913"/>
            <a:ext cx="3240360" cy="1944216"/>
          </a:xfrm>
          <a:prstGeom prst="round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4067944" y="2892545"/>
            <a:ext cx="3240360" cy="1944216"/>
          </a:xfrm>
          <a:prstGeom prst="roundRect">
            <a:avLst/>
          </a:prstGeom>
          <a:noFill/>
          <a:ln w="317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543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741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vertical 15"/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La concurrence et positionnement de TALEND</a:t>
            </a:r>
            <a:endParaRPr lang="fr-FR" dirty="0"/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168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459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88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91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vertical 1"/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La concurrence et positionnement de TALEND</a:t>
            </a:r>
            <a:endParaRPr lang="fr-FR" dirty="0"/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9642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O</a:t>
            </a:r>
            <a:r>
              <a:rPr lang="fr-FR" dirty="0" smtClean="0"/>
              <a:t>util </a:t>
            </a:r>
            <a:r>
              <a:rPr lang="fr-FR" dirty="0"/>
              <a:t>de gestion des </a:t>
            </a:r>
            <a:r>
              <a:rPr lang="fr-FR" dirty="0" smtClean="0"/>
              <a:t>données (Data Management)</a:t>
            </a:r>
          </a:p>
          <a:p>
            <a:pPr lvl="1"/>
            <a:r>
              <a:rPr lang="fr-FR" dirty="0"/>
              <a:t>Data </a:t>
            </a:r>
            <a:r>
              <a:rPr lang="fr-FR" dirty="0" smtClean="0"/>
              <a:t>Integration</a:t>
            </a:r>
            <a:endParaRPr lang="fr-FR" dirty="0"/>
          </a:p>
          <a:p>
            <a:pPr lvl="1"/>
            <a:r>
              <a:rPr lang="fr-FR" dirty="0"/>
              <a:t>Data Quality</a:t>
            </a:r>
          </a:p>
          <a:p>
            <a:pPr lvl="1"/>
            <a:r>
              <a:rPr lang="fr-FR" dirty="0"/>
              <a:t>Master Data Management (MDM) : gestion de données de référence</a:t>
            </a:r>
          </a:p>
          <a:p>
            <a:pPr lvl="1"/>
            <a:r>
              <a:rPr lang="fr-FR" dirty="0"/>
              <a:t>Big Data</a:t>
            </a:r>
          </a:p>
          <a:p>
            <a:pPr lvl="1"/>
            <a:r>
              <a:rPr lang="fr-FR" dirty="0"/>
              <a:t>ESB (Enterprise Service Bus</a:t>
            </a:r>
            <a:r>
              <a:rPr lang="fr-FR" dirty="0" smtClean="0"/>
              <a:t>)</a:t>
            </a:r>
          </a:p>
          <a:p>
            <a:pPr lvl="1"/>
            <a:r>
              <a:rPr lang="fr-FR" dirty="0" smtClean="0"/>
              <a:t>BPM (Business Process Management)  </a:t>
            </a:r>
            <a:endParaRPr lang="fr-FR" dirty="0"/>
          </a:p>
          <a:p>
            <a:pPr lvl="1"/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2536495"/>
            <a:ext cx="534987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2038546"/>
            <a:ext cx="534987" cy="55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8937" y="3429000"/>
            <a:ext cx="577850" cy="534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4293096"/>
            <a:ext cx="542925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5133373"/>
            <a:ext cx="576064" cy="54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112" y="4149080"/>
            <a:ext cx="3394850" cy="2138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126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a solution TALEND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39290"/>
            <a:ext cx="7776864" cy="5131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56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Sièges sociaux : Californie, France</a:t>
            </a:r>
          </a:p>
          <a:p>
            <a:r>
              <a:rPr lang="fr-FR" dirty="0" smtClean="0"/>
              <a:t>4000 clients payants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a solution TALEND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2564904"/>
            <a:ext cx="6279680" cy="393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9300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Base Opensource </a:t>
            </a:r>
          </a:p>
          <a:p>
            <a:r>
              <a:rPr lang="fr-FR" dirty="0"/>
              <a:t>ET plateformes </a:t>
            </a:r>
            <a:r>
              <a:rPr lang="fr-FR" dirty="0" smtClean="0"/>
              <a:t>professionnelles </a:t>
            </a:r>
          </a:p>
          <a:p>
            <a:pPr lvl="1"/>
            <a:r>
              <a:rPr lang="fr-FR" dirty="0" smtClean="0"/>
              <a:t>Modèle de licence : souscription pluriannuelle</a:t>
            </a:r>
            <a:endParaRPr lang="fr-FR" dirty="0"/>
          </a:p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a solution TALEND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140967"/>
            <a:ext cx="7128792" cy="35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416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La solution </a:t>
            </a:r>
            <a:r>
              <a:rPr lang="fr-FR" dirty="0" smtClean="0"/>
              <a:t>TALEND : commercialisation</a:t>
            </a:r>
            <a:endParaRPr lang="fr-F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47026"/>
            <a:ext cx="7944944" cy="503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063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vertical 14"/>
          <p:cNvSpPr>
            <a:spLocks noGrp="1"/>
          </p:cNvSpPr>
          <p:nvPr>
            <p:ph type="body" orient="vert" idx="12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12" name="Espace réservé du texte vertical 1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fr-FR" dirty="0" smtClean="0"/>
              <a:t>La solution TALEND</a:t>
            </a:r>
            <a:endParaRPr lang="fr-FR" dirty="0"/>
          </a:p>
        </p:txBody>
      </p:sp>
      <p:sp>
        <p:nvSpPr>
          <p:cNvPr id="13" name="Espace réservé du texte vertical 12"/>
          <p:cNvSpPr>
            <a:spLocks noGrp="1"/>
          </p:cNvSpPr>
          <p:nvPr>
            <p:ph type="body" orient="vert" idx="10"/>
          </p:nvPr>
        </p:nvSpPr>
        <p:spPr/>
        <p:txBody>
          <a:bodyPr/>
          <a:lstStyle/>
          <a:p>
            <a:r>
              <a:rPr lang="fr-FR" dirty="0" smtClean="0"/>
              <a:t>La concurrence et positionnement de TALEND</a:t>
            </a:r>
            <a:endParaRPr lang="fr-FR" dirty="0"/>
          </a:p>
        </p:txBody>
      </p:sp>
      <p:sp>
        <p:nvSpPr>
          <p:cNvPr id="14" name="Espace réservé du texte vertical 13"/>
          <p:cNvSpPr>
            <a:spLocks noGrp="1"/>
          </p:cNvSpPr>
          <p:nvPr>
            <p:ph type="body" orient="vert" idx="11"/>
          </p:nvPr>
        </p:nvSpPr>
        <p:spPr/>
        <p:txBody>
          <a:bodyPr/>
          <a:lstStyle/>
          <a:p>
            <a:r>
              <a:rPr lang="fr-FR" dirty="0" smtClean="0"/>
              <a:t>Positionnement SI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529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d0i4WEUkS5Tv.9RKPu2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S4_0396_FR_Modele_PPT_Paysage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 Parties">
  <a:themeElements>
    <a:clrScheme name="SII">
      <a:dk1>
        <a:srgbClr val="000000"/>
      </a:dk1>
      <a:lt1>
        <a:srgbClr val="FFFFFF"/>
      </a:lt1>
      <a:dk2>
        <a:srgbClr val="005AA2"/>
      </a:dk2>
      <a:lt2>
        <a:srgbClr val="BCD5EC"/>
      </a:lt2>
      <a:accent1>
        <a:srgbClr val="005AA2"/>
      </a:accent1>
      <a:accent2>
        <a:srgbClr val="88B4DC"/>
      </a:accent2>
      <a:accent3>
        <a:srgbClr val="8D3589"/>
      </a:accent3>
      <a:accent4>
        <a:srgbClr val="B2BE3A"/>
      </a:accent4>
      <a:accent5>
        <a:srgbClr val="80888C"/>
      </a:accent5>
      <a:accent6>
        <a:srgbClr val="D64B13"/>
      </a:accent6>
      <a:hlink>
        <a:srgbClr val="005AA2"/>
      </a:hlink>
      <a:folHlink>
        <a:srgbClr val="80888C"/>
      </a:folHlink>
    </a:clrScheme>
    <a:fontScheme name="Thème SII - 4 partie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apitaux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4_0396_FR_Modele_PPT_Paysage</Template>
  <TotalTime>61</TotalTime>
  <Words>260</Words>
  <Application>Microsoft Office PowerPoint</Application>
  <PresentationFormat>Affichage à l'écran (4:3)</PresentationFormat>
  <Paragraphs>68</Paragraphs>
  <Slides>23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23</vt:i4>
      </vt:variant>
    </vt:vector>
  </HeadingPairs>
  <TitlesOfParts>
    <vt:vector size="27" baseType="lpstr">
      <vt:lpstr>S4_0396_FR_Modele_PPT_Paysage</vt:lpstr>
      <vt:lpstr>5 Parties</vt:lpstr>
      <vt:lpstr>4 Parties</vt:lpstr>
      <vt:lpstr>3 Parties</vt:lpstr>
      <vt:lpstr>Présentation de la solution TALEND</vt:lpstr>
      <vt:lpstr>Présentation PowerPoint</vt:lpstr>
      <vt:lpstr>Présentation PowerPoint</vt:lpstr>
      <vt:lpstr>La solution TALEND</vt:lpstr>
      <vt:lpstr>La solution TALEND</vt:lpstr>
      <vt:lpstr>La solution TALEND</vt:lpstr>
      <vt:lpstr>La solution TALEND</vt:lpstr>
      <vt:lpstr>La solution TALEND : commercialisation</vt:lpstr>
      <vt:lpstr>Présentation PowerPoint</vt:lpstr>
      <vt:lpstr>Présentation PowerPoint</vt:lpstr>
      <vt:lpstr>Présentation PowerPoint</vt:lpstr>
      <vt:lpstr>Positionnement SII</vt:lpstr>
      <vt:lpstr>Positionnement SII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SI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de la solution TALEND</dc:title>
  <dc:creator>pgermain</dc:creator>
  <cp:lastModifiedBy>Daniel CORTINOVIS</cp:lastModifiedBy>
  <cp:revision>12</cp:revision>
  <dcterms:created xsi:type="dcterms:W3CDTF">2013-11-22T08:43:52Z</dcterms:created>
  <dcterms:modified xsi:type="dcterms:W3CDTF">2013-11-22T09:5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f-modele">
    <vt:lpwstr>S4-0396-01</vt:lpwstr>
  </property>
</Properties>
</file>